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72" y="34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57653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14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5058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924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1690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3" name="Textfeld 110"/>
          <p:cNvSpPr txBox="1"/>
          <p:nvPr userDrawn="1"/>
        </p:nvSpPr>
        <p:spPr>
          <a:xfrm>
            <a:off x="2995504" y="4804788"/>
            <a:ext cx="51863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dirty="0"/>
              <a:t>                </a:t>
            </a:r>
            <a:r>
              <a:rPr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'est ce que nous appelons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Performance through Understanding.</a:t>
            </a:r>
            <a:endParaRPr lang="fr-FR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feld 100"/>
          <p:cNvSpPr txBox="1"/>
          <p:nvPr userDrawn="1"/>
        </p:nvSpPr>
        <p:spPr>
          <a:xfrm>
            <a:off x="3585632" y="2106613"/>
            <a:ext cx="5186365" cy="2698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</a:t>
            </a:r>
            <a:r>
              <a:rPr lang="fr-FR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est le fruit de l'union de deux marques forte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semble, nous formons un gr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urnisseur d'équipements et de services pour l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ditionnemen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s liquides, des produits alimentaires et des produi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d’hygièn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en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PET,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nette, verre et autres matériaux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u fil de nos 170 ans d'expérience, nous avons installé plus d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7 000 machines dans plus de 190 pays en privilégiant toujour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	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'innovation, l'ingénierie de ligne et les systèmes perfectionnés. Nous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mptons plus de 5 000 employés dans le monde qui s'attachent à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oposer des solutions complètes pour répondre aux besoins des client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t renforcer les </a:t>
            </a:r>
            <a:r>
              <a:rPr lang="fr-FR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s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de leurs lignes, produits et entreprises.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ur proposer un tel niveau de qualité à nos clients, nous devons </a:t>
            </a:r>
            <a:r>
              <a:rPr lang="fr-FR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mprendr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eurs difficultés et nous engager à répondre à leurs besoins spécifiques. Nou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y parvenons en instaurant un dialogue et en comprenant les besoins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 leurs marchés, de leurs chaînes de valeur et de leur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oduction. En outre, nous nous appuyons sur nos solides compétences techniques et </a:t>
            </a:r>
            <a:b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notre analyse de données intelligentes pour optimiser la productivité des équipements sur</a:t>
            </a:r>
            <a:b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toute leur durée de vie.                      </a:t>
            </a:r>
            <a:endParaRPr lang="en-GB" sz="9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855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8224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2C9135B-28B6-40F2-AF70-430B98CB695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952970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duisez la consommation d'eau et les coûts de la maintenance</a:t>
            </a:r>
            <a:br>
              <a:rPr lang="fr-FR" sz="3200" i="1" dirty="0"/>
            </a:br>
            <a:endParaRPr lang="fr-FR" sz="3200" i="1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58913"/>
            <a:ext cx="7997825" cy="307975"/>
          </a:xfrm>
        </p:spPr>
        <p:txBody>
          <a:bodyPr/>
          <a:lstStyle/>
          <a:p>
            <a:r>
              <a:rPr lang="fr-FR" dirty="0"/>
              <a:t>Système de refroidissement pour le circuit des brumisateurs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z="800" dirty="0"/>
              <a:t>Valeur : Rendement, qualité du produit, </a:t>
            </a:r>
            <a:r>
              <a:rPr lang="en-US" sz="800" dirty="0" err="1"/>
              <a:t>développement</a:t>
            </a:r>
            <a:r>
              <a:rPr lang="en-US" sz="800" dirty="0"/>
              <a:t> durable</a:t>
            </a:r>
            <a:endParaRPr lang="fr-FR" sz="800" dirty="0"/>
          </a:p>
          <a:p>
            <a:r>
              <a:rPr lang="fr-FR" sz="800" dirty="0"/>
              <a:t>Équipements : pasteurisateur</a:t>
            </a:r>
          </a:p>
          <a:p>
            <a:r>
              <a:rPr lang="fr-FR" sz="800" dirty="0"/>
              <a:t>Code catalogue : VRP-01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fr-FR" sz="1200" b="1" dirty="0"/>
              <a:t>Maintenance</a:t>
            </a:r>
          </a:p>
          <a:p>
            <a:pPr>
              <a:buClr>
                <a:schemeClr val="accent4"/>
              </a:buClr>
            </a:pPr>
            <a:r>
              <a:rPr lang="fr-FR" sz="1200" dirty="0"/>
              <a:t>Maintenance réduite.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fr-FR" sz="1200" b="1" dirty="0"/>
              <a:t>Flexibilité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200" dirty="0"/>
              <a:t>Contrôle de la température du produit à la sortie de la machine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200" dirty="0"/>
              <a:t>Contrôle de la température du produit personnalisé par unité de stock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200" dirty="0"/>
              <a:t>Rendement accru des machines en aval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fr-FR" sz="1200" b="1" dirty="0"/>
              <a:t>Productivité</a:t>
            </a:r>
          </a:p>
          <a:p>
            <a:pPr>
              <a:buClr>
                <a:schemeClr val="accent4"/>
              </a:buClr>
            </a:pPr>
            <a:r>
              <a:rPr lang="fr-FR" sz="1200" dirty="0"/>
              <a:t>Réduction de la consommation d'eau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4"/>
              </a:buClr>
            </a:pPr>
            <a:r>
              <a:rPr lang="fr-FR" sz="1200"/>
              <a:t>Installation externe du circuit pour alimenter l'échangeur thermique à plaques</a:t>
            </a:r>
          </a:p>
          <a:p>
            <a:pPr marL="0" lvl="1">
              <a:buClr>
                <a:schemeClr val="accent4"/>
              </a:buClr>
            </a:pPr>
            <a:r>
              <a:rPr lang="fr-FR" sz="1200"/>
              <a:t>Mises à jour du logiciel.</a:t>
            </a:r>
          </a:p>
          <a:p>
            <a:pPr marL="0" lvl="1">
              <a:buClr>
                <a:schemeClr val="accent4"/>
              </a:buClr>
            </a:pPr>
            <a:endParaRPr lang="en-US" sz="1200" dirty="0"/>
          </a:p>
          <a:p>
            <a:pPr marL="0" lvl="1">
              <a:buClr>
                <a:schemeClr val="accent4"/>
              </a:buClr>
            </a:pPr>
            <a:r>
              <a:rPr lang="fr-FR" sz="1200"/>
              <a:t>Le système est conçu pour :</a:t>
            </a:r>
          </a:p>
          <a:p>
            <a:pPr marL="179388" lvl="1">
              <a:buClr>
                <a:schemeClr val="accent4"/>
              </a:buClr>
            </a:pPr>
            <a:r>
              <a:rPr lang="fr-FR" sz="1200"/>
              <a:t>- refroidir l'eau pour pulvériser le produit dans les zones de refroidissement ;</a:t>
            </a:r>
          </a:p>
          <a:p>
            <a:pPr marL="179388" lvl="1">
              <a:buClr>
                <a:schemeClr val="accent4"/>
              </a:buClr>
            </a:pPr>
            <a:r>
              <a:rPr lang="fr-FR" sz="1200"/>
              <a:t>- contrôler la température des pulvérisateurs dans les zones de refroidissement - - Définir l'unité de stock dans l'interface HMI.</a:t>
            </a:r>
          </a:p>
        </p:txBody>
      </p:sp>
      <p:pic>
        <p:nvPicPr>
          <p:cNvPr id="28" name="Immagine 3">
            <a:extLst>
              <a:ext uri="{FF2B5EF4-FFF2-40B4-BE49-F238E27FC236}">
                <a16:creationId xmlns:a16="http://schemas.microsoft.com/office/drawing/2014/main" id="{D1109873-80C6-4D67-8F2E-DD5B45DE9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0101" y="4258199"/>
            <a:ext cx="851947" cy="143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56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85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GeboCermex_Template_4x3_v10_FINAL</vt:lpstr>
      <vt:lpstr>think-cell Folie</vt:lpstr>
      <vt:lpstr>Réduisez la consommation d'eau et les coûts de la maintenance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7-05-19T07:45:48Z</cp:lastPrinted>
  <dcterms:created xsi:type="dcterms:W3CDTF">2018-01-25T16:00:18Z</dcterms:created>
  <dcterms:modified xsi:type="dcterms:W3CDTF">2019-11-27T13:2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8:36.134528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2:03:58.5961639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2:03:58.5961639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